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60" r:id="rId2"/>
    <p:sldMasterId id="2147483662" r:id="rId3"/>
  </p:sldMasterIdLst>
  <p:notesMasterIdLst>
    <p:notesMasterId r:id="rId7"/>
  </p:notesMasterIdLst>
  <p:sldIdLst>
    <p:sldId id="257" r:id="rId4"/>
    <p:sldId id="256" r:id="rId5"/>
    <p:sldId id="805" r:id="rId6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1" d="100"/>
          <a:sy n="151" d="100"/>
        </p:scale>
        <p:origin x="474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25" y="739775"/>
            <a:ext cx="522605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C06E8-48A6-4E03-8711-C45C0018F4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188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6039F-B480-4862-BA08-5CFE87518D6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21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70366" y="756397"/>
            <a:ext cx="5403272" cy="605118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177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report’s main tit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70365" y="1462368"/>
            <a:ext cx="5403272" cy="60511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177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360">
                <a:solidFill>
                  <a:schemeClr val="bg1"/>
                </a:solidFill>
                <a:latin typeface="+mj-lt"/>
              </a:defRPr>
            </a:lvl2pPr>
            <a:lvl3pPr marL="346461" indent="0" algn="l">
              <a:buNone/>
              <a:defRPr sz="1360">
                <a:solidFill>
                  <a:schemeClr val="bg1"/>
                </a:solidFill>
                <a:latin typeface="+mj-lt"/>
              </a:defRPr>
            </a:lvl3pPr>
            <a:lvl4pPr marL="692923" indent="0" algn="l">
              <a:buNone/>
              <a:defRPr sz="1360">
                <a:solidFill>
                  <a:schemeClr val="bg1"/>
                </a:solidFill>
                <a:latin typeface="+mj-lt"/>
              </a:defRPr>
            </a:lvl4pPr>
            <a:lvl5pPr marL="1039385" indent="0" algn="l">
              <a:buNone/>
              <a:defRPr sz="1360">
                <a:solidFill>
                  <a:schemeClr val="bg1"/>
                </a:solidFill>
                <a:latin typeface="+mj-lt"/>
              </a:defRPr>
            </a:lvl5pPr>
            <a:lvl6pPr marL="1385847" indent="0" algn="l">
              <a:buNone/>
              <a:defRPr sz="1360">
                <a:solidFill>
                  <a:schemeClr val="bg1"/>
                </a:solidFill>
                <a:latin typeface="+mj-lt"/>
              </a:defRPr>
            </a:lvl6pPr>
            <a:lvl7pPr marL="1732309" indent="0" algn="l">
              <a:buNone/>
              <a:defRPr sz="1360">
                <a:solidFill>
                  <a:schemeClr val="bg1"/>
                </a:solidFill>
                <a:latin typeface="+mj-lt"/>
              </a:defRPr>
            </a:lvl7pPr>
            <a:lvl8pPr marL="2078770" indent="0" algn="l">
              <a:buNone/>
              <a:defRPr sz="1360">
                <a:solidFill>
                  <a:schemeClr val="bg1"/>
                </a:solidFill>
                <a:latin typeface="+mj-lt"/>
              </a:defRPr>
            </a:lvl8pPr>
            <a:lvl9pPr marL="2425232" indent="0" algn="l">
              <a:buNone/>
              <a:defRPr sz="136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70364" y="352986"/>
            <a:ext cx="4156363" cy="100853"/>
          </a:xfrm>
        </p:spPr>
        <p:txBody>
          <a:bodyPr/>
          <a:lstStyle>
            <a:lvl1pPr>
              <a:defRPr sz="816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748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dirty="0" err="1"/>
              <a:t>www.pwc.co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75116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rdslide with Quotes - 3 Pa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83577" y="870347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0"/>
          </p:nvPr>
        </p:nvSpPr>
        <p:spPr>
          <a:xfrm>
            <a:off x="483577" y="1145747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5001231" y="87337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83577" y="2239468"/>
            <a:ext cx="4088422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5"/>
          </p:nvPr>
        </p:nvSpPr>
        <p:spPr>
          <a:xfrm>
            <a:off x="483577" y="2514868"/>
            <a:ext cx="4080738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83578" y="3572811"/>
            <a:ext cx="4088423" cy="166199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8"/>
          </p:nvPr>
        </p:nvSpPr>
        <p:spPr>
          <a:xfrm>
            <a:off x="483578" y="3848211"/>
            <a:ext cx="4088423" cy="422167"/>
          </a:xfrm>
        </p:spPr>
        <p:txBody>
          <a:bodyPr rIns="0"/>
          <a:lstStyle>
            <a:lvl1pPr marL="184643" indent="-184643">
              <a:defRPr/>
            </a:lvl1pPr>
            <a:lvl2pPr marL="436165" indent="-186928">
              <a:defRPr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9" hasCustomPrompt="1"/>
          </p:nvPr>
        </p:nvSpPr>
        <p:spPr>
          <a:xfrm>
            <a:off x="5001231" y="2239468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01231" y="3572811"/>
            <a:ext cx="3652062" cy="124650"/>
          </a:xfrm>
        </p:spPr>
        <p:txBody>
          <a:bodyPr lIns="90000"/>
          <a:lstStyle>
            <a:lvl1pPr marL="184436" indent="-184436">
              <a:spcBef>
                <a:spcPts val="0"/>
              </a:spcBef>
              <a:buNone/>
              <a:defRPr sz="900" i="0"/>
            </a:lvl1pPr>
            <a:lvl2pPr marL="141780" indent="0">
              <a:buNone/>
              <a:defRPr sz="831" i="1"/>
            </a:lvl2pPr>
            <a:lvl3pPr marL="436330" indent="-190139">
              <a:defRPr/>
            </a:lvl3pPr>
            <a:lvl4pPr marL="436330" indent="-190139">
              <a:defRPr/>
            </a:lvl4pPr>
            <a:lvl5pPr marL="436330" indent="-190139">
              <a:defRPr/>
            </a:lvl5pPr>
          </a:lstStyle>
          <a:p>
            <a:pPr lvl="0"/>
            <a:r>
              <a:rPr lang="en-US" dirty="0"/>
              <a:t>“…Click to edit Master text styles…”</a:t>
            </a:r>
          </a:p>
        </p:txBody>
      </p:sp>
    </p:spTree>
    <p:extLst>
      <p:ext uri="{BB962C8B-B14F-4D97-AF65-F5344CB8AC3E}">
        <p14:creationId xmlns:p14="http://schemas.microsoft.com/office/powerpoint/2010/main" val="41140502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1pPr>
            <a:lvl2pPr lvl="1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2pPr>
            <a:lvl3pPr lvl="2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3pPr>
            <a:lvl4pPr lvl="3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4pPr>
            <a:lvl5pPr lvl="4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5pPr>
            <a:lvl6pPr lvl="5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6pPr>
            <a:lvl7pPr lvl="6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7pPr>
            <a:lvl8pPr lvl="7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8pPr>
            <a:lvl9pPr lvl="8" algn="r">
              <a:spcBef>
                <a:spcPts val="0"/>
              </a:spcBef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4909" y="1462369"/>
            <a:ext cx="8174182" cy="29247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29280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/>
  <p:txStyles>
    <p:titleStyle>
      <a:lvl1pPr algn="l" defTabSz="692923" rtl="0" eaLnBrk="1" latinLnBrk="0" hangingPunct="1">
        <a:lnSpc>
          <a:spcPct val="100000"/>
        </a:lnSpc>
        <a:spcBef>
          <a:spcPct val="0"/>
        </a:spcBef>
        <a:buNone/>
        <a:defRPr sz="136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155476" algn="l" defTabSz="692923" rtl="0" eaLnBrk="1" fontAlgn="auto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SzTx/>
        <a:buFontTx/>
        <a:buNone/>
        <a:tabLst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155476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•"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310951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-"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466427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◦"/>
        <a:defRPr sz="748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621903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Font typeface="Georgia" pitchFamily="18" charset="0"/>
        <a:buChar char="›"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155476" marR="0" indent="-155476" algn="l" defTabSz="692923" rtl="0" eaLnBrk="1" fontAlgn="auto" latinLnBrk="0" hangingPunct="1">
        <a:lnSpc>
          <a:spcPct val="100000"/>
        </a:lnSpc>
        <a:spcBef>
          <a:spcPts val="0"/>
        </a:spcBef>
        <a:spcAft>
          <a:spcPts val="407"/>
        </a:spcAft>
        <a:buClr>
          <a:schemeClr val="tx1"/>
        </a:buClr>
        <a:buSzPct val="100000"/>
        <a:buFont typeface="+mj-lt"/>
        <a:buAutoNum type="arabicPeriod"/>
        <a:tabLst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310951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SzPct val="100000"/>
        <a:buFont typeface="+mj-lt"/>
        <a:buAutoNum type="alphaLcPeriod"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466427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SzPct val="100000"/>
        <a:buFont typeface="+mj-lt"/>
        <a:buAutoNum type="romanLcPeriod"/>
        <a:defRPr sz="748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155476" algn="l" defTabSz="692923" rtl="0" eaLnBrk="1" latinLnBrk="0" hangingPunct="1">
        <a:lnSpc>
          <a:spcPct val="100000"/>
        </a:lnSpc>
        <a:spcBef>
          <a:spcPts val="0"/>
        </a:spcBef>
        <a:spcAft>
          <a:spcPts val="407"/>
        </a:spcAft>
        <a:buFont typeface="Arial" pitchFamily="34" charset="0"/>
        <a:buNone/>
        <a:defRPr sz="748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1pPr>
      <a:lvl2pPr marL="346461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2pPr>
      <a:lvl3pPr marL="692923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3pPr>
      <a:lvl4pPr marL="1039385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4pPr>
      <a:lvl5pPr marL="1385847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5pPr>
      <a:lvl6pPr marL="1732309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6pPr>
      <a:lvl7pPr marL="2078770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7pPr>
      <a:lvl8pPr marL="2425232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8pPr>
      <a:lvl9pPr marL="2771693" algn="l" defTabSz="692923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776D4B2-4D7D-45DA-904C-9BD34D8969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81466588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776D4B2-4D7D-45DA-904C-9BD34D8969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30C38C2-E269-4B31-ADCA-8BB5CD243D4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 err="1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44507" y="603504"/>
            <a:ext cx="8641080" cy="25374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244507" y="1543050"/>
            <a:ext cx="8641080" cy="102335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2096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sldNum="0" hdr="0" ftr="0" dt="0"/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baseline="0">
          <a:solidFill>
            <a:srgbClr val="00B05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1050"/>
        </a:spcBef>
        <a:buClr>
          <a:srgbClr val="FF6C45"/>
        </a:buClr>
        <a:buSzPct val="100000"/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1pPr>
      <a:lvl2pPr marL="137160" indent="0" algn="l" defTabSz="685800" rtl="0" eaLnBrk="1" latinLnBrk="0" hangingPunct="1">
        <a:lnSpc>
          <a:spcPct val="90000"/>
        </a:lnSpc>
        <a:spcBef>
          <a:spcPts val="675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2pPr>
      <a:lvl3pPr marL="232200" indent="0" algn="l" defTabSz="685800" rtl="0" eaLnBrk="1" latinLnBrk="0" hangingPunct="1">
        <a:lnSpc>
          <a:spcPct val="90000"/>
        </a:lnSpc>
        <a:spcBef>
          <a:spcPts val="450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3pPr>
      <a:lvl4pPr marL="372330" indent="0" algn="l" defTabSz="685800" rtl="0" eaLnBrk="1" latinLnBrk="0" hangingPunct="1">
        <a:lnSpc>
          <a:spcPct val="90000"/>
        </a:lnSpc>
        <a:spcBef>
          <a:spcPts val="150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4pPr>
      <a:lvl5pPr marL="475200" indent="0" algn="l" defTabSz="685800" rtl="0" eaLnBrk="1" latinLnBrk="0" hangingPunct="1">
        <a:lnSpc>
          <a:spcPct val="90000"/>
        </a:lnSpc>
        <a:spcBef>
          <a:spcPts val="75"/>
        </a:spcBef>
        <a:buClr>
          <a:srgbClr val="FF6C45"/>
        </a:buClr>
        <a:buFontTx/>
        <a:buNone/>
        <a:defRPr sz="1200" kern="1200">
          <a:solidFill>
            <a:srgbClr val="00B050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F9696"/>
          </p15:clr>
        </p15:guide>
        <p15:guide id="2" orient="horz" pos="1298">
          <p15:clr>
            <a:srgbClr val="FF9696"/>
          </p15:clr>
        </p15:guide>
        <p15:guide id="3" orient="horz" pos="1548">
          <p15:clr>
            <a:srgbClr val="FF9696"/>
          </p15:clr>
        </p15:guide>
        <p15:guide id="4" orient="horz" pos="3566">
          <p15:clr>
            <a:srgbClr val="FF9696"/>
          </p15:clr>
        </p15:guide>
        <p15:guide id="5" orient="horz" pos="3997">
          <p15:clr>
            <a:srgbClr val="FF9696"/>
          </p15:clr>
        </p15:guide>
        <p15:guide id="6" orient="horz" pos="4247">
          <p15:clr>
            <a:srgbClr val="FF9696"/>
          </p15:clr>
        </p15:guide>
        <p15:guide id="7" pos="158">
          <p15:clr>
            <a:srgbClr val="FF9696"/>
          </p15:clr>
        </p15:guide>
        <p15:guide id="8" pos="2652">
          <p15:clr>
            <a:srgbClr val="FF9696"/>
          </p15:clr>
        </p15:guide>
        <p15:guide id="9" pos="2881">
          <p15:clr>
            <a:srgbClr val="FF9696"/>
          </p15:clr>
        </p15:guide>
        <p15:guide id="10" pos="3107">
          <p15:clr>
            <a:srgbClr val="FF9696"/>
          </p15:clr>
        </p15:guide>
        <p15:guide id="11" pos="5602">
          <p15:clr>
            <a:srgbClr val="FF9696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hape 6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test1</a:t>
            </a:r>
            <a:endParaRPr dirty="0"/>
          </a:p>
          <a:p>
            <a:pPr marL="0" lvl="0" indent="0">
              <a:spcBef>
                <a:spcPts val="1600"/>
              </a:spcBef>
              <a:spcAft>
                <a:spcPts val="0"/>
              </a:spcAft>
              <a:buNone/>
            </a:pPr>
            <a:r>
              <a:rPr lang="en-US" dirty="0"/>
              <a:t>test2</a:t>
            </a:r>
            <a:endParaRPr dirty="0"/>
          </a:p>
          <a:p>
            <a:pPr marL="457200" lvl="0" indent="-342900">
              <a:spcBef>
                <a:spcPts val="1600"/>
              </a:spcBef>
              <a:spcAft>
                <a:spcPts val="0"/>
              </a:spcAft>
              <a:buSzPts val="1800"/>
              <a:buChar char="●"/>
            </a:pPr>
            <a:r>
              <a:rPr lang="en-US" dirty="0"/>
              <a:t>test3</a:t>
            </a:r>
            <a:endParaRPr dirty="0"/>
          </a:p>
          <a:p>
            <a: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</a:pPr>
            <a:r>
              <a:rPr lang="en-US" dirty="0"/>
              <a:t>test4</a:t>
            </a:r>
            <a:endParaRPr dirty="0"/>
          </a:p>
          <a:p>
            <a:pPr marL="0" lvl="0" indent="0">
              <a:spcBef>
                <a:spcPts val="1600"/>
              </a:spcBef>
              <a:spcAft>
                <a:spcPts val="1600"/>
              </a:spcAft>
              <a:buNone/>
            </a:pPr>
            <a:r>
              <a:rPr lang="en-US" dirty="0"/>
              <a:t>test5</a:t>
            </a: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2422830" y="1102261"/>
            <a:ext cx="4298341" cy="605118"/>
          </a:xfrm>
        </p:spPr>
        <p:txBody>
          <a:bodyPr/>
          <a:lstStyle/>
          <a:p>
            <a:r>
              <a:rPr lang="en-GB">
                <a:solidFill>
                  <a:srgbClr val="FF0000"/>
                </a:solidFill>
              </a:rPr>
              <a:t>Test subtitle</a:t>
            </a:r>
            <a:endParaRPr lang="en-GB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26380" y="603505"/>
            <a:ext cx="6480810" cy="249299"/>
          </a:xfr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dirty="0">
                <a:solidFill>
                  <a:srgbClr val="00B050"/>
                </a:solidFill>
                <a:latin typeface="Arial"/>
              </a:rPr>
              <a:t>Tes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505683" y="1127986"/>
            <a:ext cx="3066317" cy="186974"/>
          </a:xfrm>
        </p:spPr>
        <p:txBody>
          <a:bodyPr/>
          <a:lstStyle/>
          <a:p>
            <a:r>
              <a:rPr lang="en-GB" sz="1350" dirty="0">
                <a:solidFill>
                  <a:srgbClr val="00B050"/>
                </a:solidFill>
              </a:rPr>
              <a:t>tes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505683" y="1403387"/>
            <a:ext cx="3060554" cy="515013"/>
          </a:xfrm>
        </p:spPr>
        <p:txBody>
          <a:bodyPr/>
          <a:lstStyle/>
          <a:p>
            <a:pPr marL="0" indent="0">
              <a:buNone/>
            </a:pPr>
            <a:r>
              <a:rPr lang="en-GB" sz="1350" dirty="0">
                <a:solidFill>
                  <a:srgbClr val="00B050"/>
                </a:solidFill>
              </a:rPr>
              <a:t>test</a:t>
            </a:r>
          </a:p>
          <a:p>
            <a:pPr marL="0" indent="0">
              <a:buNone/>
            </a:pPr>
            <a:endParaRPr lang="en-GB" sz="135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893923" y="1131011"/>
            <a:ext cx="2739047" cy="339067"/>
          </a:xfrm>
        </p:spPr>
        <p:txBody>
          <a:bodyPr/>
          <a:lstStyle/>
          <a:p>
            <a:pPr marL="0" lvl="1"/>
            <a:r>
              <a:rPr lang="en-GB" sz="900" dirty="0">
                <a:solidFill>
                  <a:srgbClr val="00B050"/>
                </a:solidFill>
              </a:rPr>
              <a:t>test</a:t>
            </a:r>
          </a:p>
          <a:p>
            <a:pPr marL="628077" lvl="1" indent="-311546"/>
            <a:r>
              <a:rPr lang="en-GB" sz="900" dirty="0">
                <a:solidFill>
                  <a:srgbClr val="00B050"/>
                </a:solidFill>
              </a:rPr>
              <a:t>test</a:t>
            </a:r>
          </a:p>
        </p:txBody>
      </p:sp>
      <p:sp>
        <p:nvSpPr>
          <p:cNvPr id="17" name="Source"/>
          <p:cNvSpPr txBox="1"/>
          <p:nvPr/>
        </p:nvSpPr>
        <p:spPr>
          <a:xfrm>
            <a:off x="1506878" y="4609211"/>
            <a:ext cx="5285277" cy="12086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157" indent="-274157" defTabSz="685800">
              <a:buClrTx/>
            </a:pPr>
            <a:r>
              <a:rPr lang="en-GB" sz="554" dirty="0">
                <a:solidFill>
                  <a:srgbClr val="00B050"/>
                </a:solidFill>
                <a:latin typeface="Arial"/>
              </a:rPr>
              <a:t>Test foot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4080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f67Qf2Qji_mD8vTQ5N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NE_MU_STRAIGHT CONNECTOR 14" val="Top=357.1569|Left=40.61465|Width=698.5853|Height=0"/>
  <p:tag name="MONE_MU_STRAIGHT CONNECTOR 13" val="Top=214.1682|Left=40.61465|Width=698.5853|Height=3.005197"/>
  <p:tag name="MONE_MU_SOURCE" val="Top=501.7615|Left=40.8|Width=601.1251|Height=13.74709|FontName=Arial|FontSize=8"/>
  <p:tag name="MONE_MU_CONTENT PLACEHOLDER 11" val="Top=375.0983|Left=426.6142|Width=311.5276|Height=122.0422|FontName=Arial|FontSize=12"/>
  <p:tag name="MONE_MU_CONTENT PLACEHOLDER 10" val="Top=235.1147|Left=426.6142|Width=311.5276|Height=122.0422|FontName=Arial|FontSize=12"/>
  <p:tag name="MONE_MU_CONTENT PLACEHOLDER 9" val="Top=404.0117|Left=40.59457|Width=348.0945|Height=93.12882|FontName=Arial|FontSize=14"/>
  <p:tag name="MONE_MU_TEXT PLACEHOLDER 8" val="Top=375.0983|Left=40.59449|Width=348.75|Height=22.67717|FontName=Arial|FontSize=14"/>
  <p:tag name="MONE_MU_CONTENT PLACEHOLDER 7" val="Top=264.0281|Left=41.25|Width=348.0945|Height=93.12882|FontName=Arial|FontSize=14"/>
  <p:tag name="MONE_MU_TEXT PLACEHOLDER 6" val="Top=235.1147|Left=41.24992|Width=348.75|Height=22.67717|FontName=Arial|FontSize=14"/>
  <p:tag name="MONE_MU_CONTENT PLACEHOLDER 5" val="Top=92.12598|Left=426.6142|Width=311.5276|Height=122.0422|FontName=Arial|FontSize=12"/>
  <p:tag name="MONE_MU_CONTENT PLACEHOLDER 3" val="Top=121.0394|Left=41.25|Width=348.0945|Height=93.12882|FontName=Arial|FontSize=14"/>
  <p:tag name="MONE_MU_TEXT PLACEHOLDER 4" val="Top=92.12598|Left=41.24992|Width=348.75|Height=22.67717|FontName=Arial|FontSize=14"/>
  <p:tag name="MONE_MU_TITLE 2" val="Top=14.97898|Left=40.8|Width=698.4|Height=46.7374|FontName=Arial|FontSize=18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~2997995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DC6900"/>
      </a:hlink>
      <a:folHlink>
        <a:srgbClr val="DC690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>
          <a:solidFill>
            <a:schemeClr val="tx2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noAutofit/>
      </a:bodyPr>
      <a:lstStyle>
        <a:defPPr>
          <a:spcAft>
            <a:spcPts val="900"/>
          </a:spcAft>
          <a:defRPr sz="2000" dirty="0" smtClean="0">
            <a:latin typeface="Georgia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91F21275-7830-497D-B741-EE12799FC331}" vid="{B781696D-5232-4FA7-BDC5-864874AC5D4C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6</Words>
  <Application>Microsoft Office PowerPoint</Application>
  <PresentationFormat>On-screen Show (16:9)</PresentationFormat>
  <Paragraphs>14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Georgia</vt:lpstr>
      <vt:lpstr>Simple Light</vt:lpstr>
      <vt:lpstr>~2997995</vt:lpstr>
      <vt:lpstr>Blank</vt:lpstr>
      <vt:lpstr>think-cell Slide</vt:lpstr>
      <vt:lpstr>PowerPoint Presentation</vt:lpstr>
      <vt:lpstr>PowerPoint Presentation</vt:lpstr>
      <vt:lpstr>Te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Adam Schachabov</cp:lastModifiedBy>
  <cp:revision>5</cp:revision>
  <dcterms:modified xsi:type="dcterms:W3CDTF">2020-02-08T13:37:18Z</dcterms:modified>
</cp:coreProperties>
</file>